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9"/>
  </p:notesMasterIdLst>
  <p:handoutMasterIdLst>
    <p:handoutMasterId r:id="rId20"/>
  </p:handoutMasterIdLst>
  <p:sldIdLst>
    <p:sldId id="311" r:id="rId4"/>
    <p:sldId id="340" r:id="rId5"/>
    <p:sldId id="366" r:id="rId6"/>
    <p:sldId id="372" r:id="rId7"/>
    <p:sldId id="373" r:id="rId8"/>
    <p:sldId id="374" r:id="rId9"/>
    <p:sldId id="375" r:id="rId10"/>
    <p:sldId id="376" r:id="rId11"/>
    <p:sldId id="377" r:id="rId12"/>
    <p:sldId id="378" r:id="rId13"/>
    <p:sldId id="379" r:id="rId14"/>
    <p:sldId id="380" r:id="rId15"/>
    <p:sldId id="381" r:id="rId16"/>
    <p:sldId id="329" r:id="rId17"/>
    <p:sldId id="349" r:id="rId18"/>
  </p:sldIdLst>
  <p:sldSz cx="9906000" cy="6858000" type="A4"/>
  <p:notesSz cx="6896100" cy="10033000"/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5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3/1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1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5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1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-303730" y="242086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Witaj</a:t>
            </a:r>
            <a:r>
              <a:rPr kumimoji="0" lang="pl-PL" sz="4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wiosno!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4" descr="Warsztat 6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89380" y="4365130"/>
            <a:ext cx="1828800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8. Dodaj autor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216738" y="1501775"/>
            <a:ext cx="3472523" cy="4637088"/>
          </a:xfr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9. Powiedz coś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576670" y="1412720"/>
            <a:ext cx="4611062" cy="4479853"/>
          </a:xfr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10. Dla odważnych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72350" y="1772770"/>
            <a:ext cx="4595689" cy="3528490"/>
          </a:xfrm>
        </p:spPr>
      </p:pic>
      <p:pic>
        <p:nvPicPr>
          <p:cNvPr id="8" name="Picture 7" descr="d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7020" y="1632186"/>
            <a:ext cx="4176580" cy="3634272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11. Działa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072600" y="1268700"/>
            <a:ext cx="5825994" cy="4821512"/>
          </a:xfr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32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32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</a:t>
            </a:r>
            <a:r>
              <a:rPr lang="pl-PL" sz="32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trzebujesz pomocy, poproś prowadzącego.</a:t>
            </a:r>
            <a:endParaRPr lang="de-DE" sz="32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</a:t>
            </a:r>
            <a:r>
              <a:rPr lang="pl-PL" dirty="0" smtClean="0"/>
              <a:t>Usuń istniejącego duszk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3" name="Picture 12" descr="d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16620" y="1844780"/>
            <a:ext cx="5832810" cy="36242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2. Dodaj nowego duszk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640540" y="1772770"/>
            <a:ext cx="6551522" cy="3736103"/>
          </a:xfr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3. Nazwij duszk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488380" y="2132820"/>
            <a:ext cx="4090482" cy="2808390"/>
          </a:xfrm>
        </p:spPr>
      </p:pic>
      <p:pic>
        <p:nvPicPr>
          <p:cNvPr id="8" name="Picture 7" descr="d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8979" y="2132820"/>
            <a:ext cx="4444775" cy="280839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4. Dodaj tł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432650" y="1772770"/>
            <a:ext cx="5105185" cy="3600500"/>
          </a:xfr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5. Przesuń duszka w wybrane miejsc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217605" y="1501775"/>
            <a:ext cx="3470790" cy="4637088"/>
          </a:xfr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6. Piszemy kod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512800" y="1916790"/>
            <a:ext cx="2696748" cy="3155196"/>
          </a:xfr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ok 7. Testujemy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576670" y="1484730"/>
            <a:ext cx="4667831" cy="4495657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8</Words>
  <Application>Microsoft Office PowerPoint</Application>
  <PresentationFormat>A4 Paper (210x297 mm)</PresentationFormat>
  <Paragraphs>56</Paragraphs>
  <Slides>15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Blank</vt:lpstr>
      <vt:lpstr>Closing slides</vt:lpstr>
      <vt:lpstr>Section break</vt:lpstr>
      <vt:lpstr>think-cell Slide</vt:lpstr>
      <vt:lpstr>       Zadanie 1</vt:lpstr>
      <vt:lpstr>Wskazówki</vt:lpstr>
      <vt:lpstr>Krok 1. Usuń istniejącego duszka</vt:lpstr>
      <vt:lpstr>Krok 2. Dodaj nowego duszka</vt:lpstr>
      <vt:lpstr>Krok 3. Nazwij duszka</vt:lpstr>
      <vt:lpstr>Krok 4. Dodaj tło</vt:lpstr>
      <vt:lpstr>Krok 5. Przesuń duszka w wybrane miejsce</vt:lpstr>
      <vt:lpstr>Krok 6. Piszemy kod!</vt:lpstr>
      <vt:lpstr>Krok 7. Testujemy</vt:lpstr>
      <vt:lpstr>Krok 8. Dodaj autora</vt:lpstr>
      <vt:lpstr>Krok 9. Powiedz coś</vt:lpstr>
      <vt:lpstr>Krok 10. Dla odważnych</vt:lpstr>
      <vt:lpstr>Krok 11. Działa?</vt:lpstr>
      <vt:lpstr>Slide 14</vt:lpstr>
      <vt:lpstr>Slide 15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126</cp:revision>
  <dcterms:created xsi:type="dcterms:W3CDTF">2014-10-21T19:55:20Z</dcterms:created>
  <dcterms:modified xsi:type="dcterms:W3CDTF">2015-03-16T21:47:49Z</dcterms:modified>
</cp:coreProperties>
</file>